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3"/>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80" r:id="rId31"/>
    <p:sldId id="9975" r:id="rId32"/>
    <p:sldId id="8344" r:id="rId33"/>
    <p:sldId id="9978" r:id="rId34"/>
    <p:sldId id="9977" r:id="rId35"/>
    <p:sldId id="4552" r:id="rId36"/>
    <p:sldId id="9979" r:id="rId37"/>
    <p:sldId id="9970" r:id="rId38"/>
    <p:sldId id="2315" r:id="rId39"/>
    <p:sldId id="267" r:id="rId40"/>
    <p:sldId id="268" r:id="rId41"/>
    <p:sldId id="269" r:id="rId42"/>
    <p:sldId id="1551" r:id="rId43"/>
    <p:sldId id="2792" r:id="rId44"/>
    <p:sldId id="275" r:id="rId45"/>
    <p:sldId id="2794" r:id="rId46"/>
    <p:sldId id="2316" r:id="rId47"/>
    <p:sldId id="4554" r:id="rId48"/>
    <p:sldId id="9967" r:id="rId49"/>
    <p:sldId id="9969" r:id="rId50"/>
    <p:sldId id="1843" r:id="rId51"/>
    <p:sldId id="8219" r:id="rId52"/>
    <p:sldId id="307" r:id="rId53"/>
    <p:sldId id="9971" r:id="rId54"/>
    <p:sldId id="9972" r:id="rId55"/>
    <p:sldId id="1727" r:id="rId56"/>
    <p:sldId id="409" r:id="rId57"/>
    <p:sldId id="3719" r:id="rId58"/>
    <p:sldId id="4502" r:id="rId59"/>
    <p:sldId id="4501" r:id="rId60"/>
    <p:sldId id="4499" r:id="rId61"/>
    <p:sldId id="8343" r:id="rId62"/>
    <p:sldId id="4512" r:id="rId63"/>
    <p:sldId id="4500" r:id="rId64"/>
    <p:sldId id="302" r:id="rId65"/>
    <p:sldId id="4506" r:id="rId66"/>
    <p:sldId id="9973" r:id="rId67"/>
    <p:sldId id="4481" r:id="rId68"/>
    <p:sldId id="9974" r:id="rId69"/>
    <p:sldId id="340" r:id="rId70"/>
    <p:sldId id="273" r:id="rId71"/>
    <p:sldId id="4556" r:id="rId7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 id="9980"/>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79482" autoAdjust="0"/>
  </p:normalViewPr>
  <p:slideViewPr>
    <p:cSldViewPr snapToGrid="0">
      <p:cViewPr varScale="1">
        <p:scale>
          <a:sx n="98" d="100"/>
          <a:sy n="98" d="100"/>
        </p:scale>
        <p:origin x="425" y="69"/>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2.05.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9</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5/12/2020 3:32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0</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3</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8</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5/12/2020 3:3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4</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2/2020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2/2020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5/12/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these elements. </a:t>
            </a:r>
            <a:r>
              <a:rPr lang="en-US" sz="900" b="0" i="0" u="none" strike="noStrike" kern="1200">
                <a:solidFill>
                  <a:schemeClr val="tx1"/>
                </a:solidFill>
                <a:effectLst/>
                <a:latin typeface="Segoe UI Light" pitchFamily="34" charset="0"/>
                <a:ea typeface="+mn-ea"/>
                <a:cs typeface="+mn-cs"/>
              </a:rPr>
              <a:t>You </a:t>
            </a:r>
            <a:r>
              <a:rPr lang="en-US" sz="900" b="0" i="0" u="none" strike="noStrike" kern="1200" dirty="0">
                <a:solidFill>
                  <a:schemeClr val="tx1"/>
                </a:solidFill>
                <a:effectLst/>
                <a:latin typeface="Segoe UI Light" pitchFamily="34" charset="0"/>
                <a:ea typeface="+mn-ea"/>
                <a:cs typeface="+mn-cs"/>
              </a:rPr>
              <a:t>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2/2020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5/12/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5/12/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5/12/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5/12/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12/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3.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9.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Whiteboard</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133710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77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a:t>
            </a:r>
          </a:p>
          <a:p>
            <a:pPr marL="457200" indent="-457200">
              <a:buFont typeface="Wingdings" panose="05000000000000000000" pitchFamily="2" charset="2"/>
              <a:buChar char="Ø"/>
            </a:pPr>
            <a:r>
              <a:rPr lang="en-US" sz="3200" dirty="0"/>
              <a:t>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3</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dirty="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3.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6774</TotalTime>
  <Words>5897</Words>
  <Application>Microsoft Office PowerPoint</Application>
  <PresentationFormat>Widescreen</PresentationFormat>
  <Paragraphs>724</Paragraphs>
  <Slides>59</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86"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Whiteboard</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42</cp:revision>
  <dcterms:created xsi:type="dcterms:W3CDTF">2019-05-10T10:01:57Z</dcterms:created>
  <dcterms:modified xsi:type="dcterms:W3CDTF">2020-05-12T13: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